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15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8.xml" ContentType="application/vnd.openxmlformats-officedocument.presentationml.slide+xml"/>
  <Override PartName="/ppt/slides/slide11.xml" ContentType="application/vnd.openxmlformats-officedocument.presentationml.slide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6.xml" ContentType="application/vnd.openxmlformats-officedocument.presentationml.slide+xml"/>
  <Override PartName="/ppt/slides/slide6.xml" ContentType="application/vnd.openxmlformats-officedocument.presentationml.slide+xml"/>
  <Override PartName="/ppt/notesSlides/notesSlide7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4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31.xml" ContentType="application/vnd.openxmlformats-officedocument.presentationml.tags+xml"/>
  <Override PartName="/ppt/tags/tag8.xml" ContentType="application/vnd.openxmlformats-officedocument.presentationml.tags+xml"/>
  <Override PartName="/ppt/tags/tag44.xml" ContentType="application/vnd.openxmlformats-officedocument.presentationml.tags+xml"/>
  <Override PartName="/ppt/tags/tag9.xml" ContentType="application/vnd.openxmlformats-officedocument.presentationml.tags+xml"/>
  <Override PartName="/ppt/tags/tag45.xml" ContentType="application/vnd.openxmlformats-officedocument.presentationml.tags+xml"/>
  <Override PartName="/ppt/tags/tag10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1.xml" ContentType="application/vnd.openxmlformats-officedocument.presentationml.tags+xml"/>
  <Override PartName="/ppt/tags/tag39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43.xml" ContentType="application/vnd.openxmlformats-officedocument.presentationml.tags+xml"/>
  <Override PartName="/ppt/tags/tag42.xml" ContentType="application/vnd.openxmlformats-officedocument.presentationml.tags+xml"/>
  <Override PartName="/ppt/tags/tag38.xml" ContentType="application/vnd.openxmlformats-officedocument.presentationml.tags+xml"/>
  <Override PartName="/ppt/tags/tag7.xml" ContentType="application/vnd.openxmlformats-officedocument.presentationml.tags+xml"/>
  <Override PartName="/ppt/tags/tag14.xml" ContentType="application/vnd.openxmlformats-officedocument.presentationml.tags+xml"/>
  <Override PartName="/ppt/tags/tag46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51.xml" ContentType="application/vnd.openxmlformats-officedocument.presentationml.tags+xml"/>
  <Override PartName="/ppt/tags/tag27.xml" ContentType="application/vnd.openxmlformats-officedocument.presentationml.tags+xml"/>
  <Override PartName="/ppt/tags/tag26.xml" ContentType="application/vnd.openxmlformats-officedocument.presentationml.tags+xml"/>
  <Override PartName="/ppt/tags/tag50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30.xml" ContentType="application/vnd.openxmlformats-officedocument.presentationml.tags+xml"/>
  <Override PartName="/ppt/tags/tag52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29.xml" ContentType="application/vnd.openxmlformats-officedocument.presentationml.tags+xml"/>
  <Override PartName="/ppt/tags/tag49.xml" ContentType="application/vnd.openxmlformats-officedocument.presentationml.tags+xml"/>
  <Override PartName="/ppt/tags/tag25.xml" ContentType="application/vnd.openxmlformats-officedocument.presentationml.tags+xml"/>
  <Override PartName="/ppt/tags/tag24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53.xml" ContentType="application/vnd.openxmlformats-officedocument.presentationml.tags+xml"/>
  <Override PartName="/ppt/tags/tag47.xml" ContentType="application/vnd.openxmlformats-officedocument.presentationml.tags+xml"/>
  <Override PartName="/ppt/tags/tag19.xml" ContentType="application/vnd.openxmlformats-officedocument.presentationml.tags+xml"/>
  <Override PartName="/ppt/tags/tag35.xml" ContentType="application/vnd.openxmlformats-officedocument.presentationml.tags+xml"/>
  <Override PartName="/ppt/tags/tag20.xml" ContentType="application/vnd.openxmlformats-officedocument.presentationml.tags+xml"/>
  <Override PartName="/ppt/tags/tag23.xml" ContentType="application/vnd.openxmlformats-officedocument.presentationml.tags+xml"/>
  <Override PartName="/ppt/tags/tag48.xml" ContentType="application/vnd.openxmlformats-officedocument.presentationml.tags+xml"/>
  <Override PartName="/ppt/tags/tag34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13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32" r:id="rId1"/>
    <p:sldMasterId id="2147484063" r:id="rId2"/>
  </p:sldMasterIdLst>
  <p:notesMasterIdLst>
    <p:notesMasterId r:id="rId19"/>
  </p:notesMasterIdLst>
  <p:handoutMasterIdLst>
    <p:handoutMasterId r:id="rId20"/>
  </p:handoutMasterIdLst>
  <p:sldIdLst>
    <p:sldId id="777" r:id="rId3"/>
    <p:sldId id="778" r:id="rId4"/>
    <p:sldId id="781" r:id="rId5"/>
    <p:sldId id="779" r:id="rId6"/>
    <p:sldId id="780" r:id="rId7"/>
    <p:sldId id="782" r:id="rId8"/>
    <p:sldId id="783" r:id="rId9"/>
    <p:sldId id="784" r:id="rId10"/>
    <p:sldId id="785" r:id="rId11"/>
    <p:sldId id="787" r:id="rId12"/>
    <p:sldId id="788" r:id="rId13"/>
    <p:sldId id="789" r:id="rId14"/>
    <p:sldId id="790" r:id="rId15"/>
    <p:sldId id="791" r:id="rId16"/>
    <p:sldId id="792" r:id="rId17"/>
    <p:sldId id="786" r:id="rId18"/>
  </p:sldIdLst>
  <p:sldSz cx="9906000" cy="6858000" type="A4"/>
  <p:notesSz cx="10234613" cy="7102475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3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3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/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3CFE1"/>
    <a:srgbClr val="FF702D"/>
    <a:srgbClr val="DFE5EF"/>
    <a:srgbClr val="F2F7FC"/>
    <a:srgbClr val="E4EEF9"/>
    <a:srgbClr val="004489"/>
    <a:srgbClr val="FA5500"/>
    <a:srgbClr val="7F7F7F"/>
    <a:srgbClr val="E43E0A"/>
    <a:srgbClr val="00B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800" autoAdjust="0"/>
    <p:restoredTop sz="91223" autoAdjust="0"/>
  </p:normalViewPr>
  <p:slideViewPr>
    <p:cSldViewPr snapToGrid="0">
      <p:cViewPr varScale="1">
        <p:scale>
          <a:sx n="119" d="100"/>
          <a:sy n="119" d="100"/>
        </p:scale>
        <p:origin x="-438" y="-90"/>
      </p:cViewPr>
      <p:guideLst>
        <p:guide orient="horz" pos="4111"/>
        <p:guide orient="horz" pos="1652"/>
        <p:guide orient="horz" pos="668"/>
        <p:guide pos="229"/>
        <p:guide pos="5771"/>
        <p:guide pos="6069"/>
      </p:guideLst>
    </p:cSldViewPr>
  </p:slideViewPr>
  <p:outlineViewPr>
    <p:cViewPr>
      <p:scale>
        <a:sx n="33" d="100"/>
        <a:sy n="33" d="100"/>
      </p:scale>
      <p:origin x="36" y="1989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 varScale="1">
        <p:scale>
          <a:sx n="115" d="100"/>
          <a:sy n="115" d="100"/>
        </p:scale>
        <p:origin x="-1398" y="-114"/>
      </p:cViewPr>
      <p:guideLst>
        <p:guide orient="horz" pos="2237"/>
        <p:guide pos="322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customXml" Target="../customXml/item1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29" Type="http://schemas.openxmlformats.org/officeDocument/2006/relationships/customXml" Target="../customXml/item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28" Type="http://schemas.openxmlformats.org/officeDocument/2006/relationships/customXml" Target="../customXml/item3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Relationship Id="rId27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B3DFE3B6-570A-4C56-B47F-6CEFC886FDA8}" type="datetimeFigureOut">
              <a:rPr lang="ru-RU" smtClean="0"/>
              <a:pPr/>
              <a:t>23.05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57EC5638-3CB0-4A9F-B673-7ABAB7AA73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685693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797206" y="1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/>
          <a:lstStyle>
            <a:lvl1pPr algn="r">
              <a:defRPr sz="1200"/>
            </a:lvl1pPr>
          </a:lstStyle>
          <a:p>
            <a:fld id="{AB710F3C-1901-43F5-BEDC-46566954B54D}" type="datetimeFigureOut">
              <a:rPr lang="ru-RU" smtClean="0"/>
              <a:pPr/>
              <a:t>23.05.2017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95638" y="533400"/>
            <a:ext cx="3843337" cy="2662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04" tIns="47352" rIns="94704" bIns="47352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023135" y="3374012"/>
            <a:ext cx="8188348" cy="3195110"/>
          </a:xfrm>
          <a:prstGeom prst="rect">
            <a:avLst/>
          </a:prstGeom>
        </p:spPr>
        <p:txBody>
          <a:bodyPr vert="horz" lIns="94704" tIns="47352" rIns="94704" bIns="4735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797206" y="6746349"/>
            <a:ext cx="4435766" cy="354455"/>
          </a:xfrm>
          <a:prstGeom prst="rect">
            <a:avLst/>
          </a:prstGeom>
        </p:spPr>
        <p:txBody>
          <a:bodyPr vert="horz" lIns="94704" tIns="47352" rIns="94704" bIns="47352" rtlCol="0" anchor="b"/>
          <a:lstStyle>
            <a:lvl1pPr algn="r">
              <a:defRPr sz="1200"/>
            </a:lvl1pPr>
          </a:lstStyle>
          <a:p>
            <a:fld id="{31758C84-B58E-494F-8CEF-25E53AC35C0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7041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9322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95967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38422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460668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3961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346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758C84-B58E-494F-8CEF-25E53AC35C0C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96900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4.xml"/><Relationship Id="rId7" Type="http://schemas.openxmlformats.org/officeDocument/2006/relationships/oleObject" Target="../embeddings/oleObject8.bin"/><Relationship Id="rId2" Type="http://schemas.openxmlformats.org/officeDocument/2006/relationships/tags" Target="../tags/tag2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5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.xml"/><Relationship Id="rId7" Type="http://schemas.openxmlformats.org/officeDocument/2006/relationships/oleObject" Target="../embeddings/oleObject3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1.xml"/><Relationship Id="rId10" Type="http://schemas.microsoft.com/office/2007/relationships/hdphoto" Target="../media/hdphoto1.wdp"/><Relationship Id="rId4" Type="http://schemas.openxmlformats.org/officeDocument/2006/relationships/tags" Target="../tags/tag7.xml"/><Relationship Id="rId9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5.xml"/><Relationship Id="rId7" Type="http://schemas.openxmlformats.org/officeDocument/2006/relationships/oleObject" Target="../embeddings/oleObject6.bin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4" Type="http://schemas.openxmlformats.org/officeDocument/2006/relationships/image" Target="../media/image5.jpe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.xml"/><Relationship Id="rId7" Type="http://schemas.openxmlformats.org/officeDocument/2006/relationships/oleObject" Target="../embeddings/oleObject7.bin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jpeg"/><Relationship Id="rId5" Type="http://schemas.openxmlformats.org/officeDocument/2006/relationships/slideMaster" Target="../slideMasters/slideMaster2.xml"/><Relationship Id="rId10" Type="http://schemas.microsoft.com/office/2007/relationships/hdphoto" Target="../media/hdphoto1.wdp"/><Relationship Id="rId4" Type="http://schemas.openxmlformats.org/officeDocument/2006/relationships/tags" Target="../tags/tag22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Picture 87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4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2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41666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26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Picture 9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0" y="6520413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62" y="1060450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  <p:sp>
        <p:nvSpPr>
          <p:cNvPr id="5435" name="Text Placeholder 5434"/>
          <p:cNvSpPr>
            <a:spLocks noGrp="1"/>
          </p:cNvSpPr>
          <p:nvPr>
            <p:ph type="body" sz="quarter" idx="14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324" name="Text Placeholder 6323"/>
          <p:cNvSpPr>
            <a:spLocks noGrp="1"/>
          </p:cNvSpPr>
          <p:nvPr>
            <p:ph type="body" sz="quarter" idx="15"/>
          </p:nvPr>
        </p:nvSpPr>
        <p:spPr>
          <a:xfrm>
            <a:off x="1588" y="1588"/>
            <a:ext cx="1588" cy="1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8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25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25" y="5381625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0298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8" name="Picture 204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9906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0155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Прямая соединительная линия 13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/>
            <p:custDataLst>
              <p:tags r:id="rId3"/>
            </p:custDataLst>
          </p:nvPr>
        </p:nvSpPr>
        <p:spPr>
          <a:xfrm>
            <a:off x="363538" y="2788028"/>
            <a:ext cx="8828086" cy="166407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6456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5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179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10" y="6520431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1" y="1060468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62749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906000" cy="684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0" y="2608715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 userDrawn="1"/>
        </p:nvCxnSpPr>
        <p:spPr>
          <a:xfrm flipV="1">
            <a:off x="363539" y="1"/>
            <a:ext cx="0" cy="6857998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 userDrawn="1"/>
        </p:nvCxnSpPr>
        <p:spPr>
          <a:xfrm>
            <a:off x="0" y="1268413"/>
            <a:ext cx="9906000" cy="0"/>
          </a:xfrm>
          <a:prstGeom prst="line">
            <a:avLst/>
          </a:prstGeom>
          <a:ln w="28575">
            <a:solidFill>
              <a:srgbClr val="FA55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>
            <a:spLocks noGrp="1"/>
          </p:cNvSpPr>
          <p:nvPr userDrawn="1">
            <p:ph type="ctrTitle"/>
            <p:custDataLst>
              <p:tags r:id="rId1"/>
            </p:custDataLst>
          </p:nvPr>
        </p:nvSpPr>
        <p:spPr>
          <a:xfrm>
            <a:off x="390530" y="3152775"/>
            <a:ext cx="8839199" cy="171677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000" b="1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Subtitle 2"/>
          <p:cNvSpPr>
            <a:spLocks noGrp="1"/>
          </p:cNvSpPr>
          <p:nvPr userDrawn="1">
            <p:ph type="subTitle" idx="1"/>
            <p:custDataLst>
              <p:tags r:id="rId2"/>
            </p:custDataLst>
          </p:nvPr>
        </p:nvSpPr>
        <p:spPr>
          <a:xfrm>
            <a:off x="390530" y="5381643"/>
            <a:ext cx="8839199" cy="5630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2200" i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86813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80669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6" name="Picture 20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906000" cy="990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360734" y="0"/>
            <a:ext cx="8477273" cy="927847"/>
          </a:xfrm>
          <a:prstGeom prst="rect">
            <a:avLst/>
          </a:prstGeom>
        </p:spPr>
        <p:txBody>
          <a:bodyPr lIns="0" tIns="0" rIns="0" bIns="0" anchor="ctr" anchorCtr="0">
            <a:normAutofit/>
          </a:bodyPr>
          <a:lstStyle>
            <a:lvl1pPr algn="l">
              <a:defRPr sz="2000" b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2203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5"/>
          <p:cNvSpPr>
            <a:spLocks noGrp="1"/>
          </p:cNvSpPr>
          <p:nvPr userDrawn="1">
            <p:ph type="sldNum" sz="quarter" idx="12"/>
            <p:custDataLst>
              <p:tags r:id="rId4"/>
            </p:custDataLst>
          </p:nvPr>
        </p:nvSpPr>
        <p:spPr>
          <a:xfrm>
            <a:off x="9589670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11" name="Picture 107" descr="http://www.fsk-ees.ru/upload/medialibrary/0c5/0c5fbc1f954f923c2a8a1b10e566c61c.png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5809" y="6520429"/>
            <a:ext cx="2455679" cy="322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Текст 3"/>
          <p:cNvSpPr>
            <a:spLocks noGrp="1"/>
          </p:cNvSpPr>
          <p:nvPr>
            <p:ph type="body" sz="quarter" idx="13"/>
          </p:nvPr>
        </p:nvSpPr>
        <p:spPr>
          <a:xfrm>
            <a:off x="360370" y="1060466"/>
            <a:ext cx="927417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buNone/>
              <a:defRPr sz="1600" b="1">
                <a:solidFill>
                  <a:schemeClr val="bg2"/>
                </a:solidFill>
              </a:defRPr>
            </a:lvl1pPr>
            <a:lvl2pPr marL="180975" indent="0">
              <a:buNone/>
              <a:defRPr/>
            </a:lvl2pPr>
            <a:lvl3pPr marL="361950" indent="0">
              <a:buNone/>
              <a:defRPr/>
            </a:lvl3pPr>
            <a:lvl4pPr marL="180975" indent="0">
              <a:buNone/>
              <a:defRPr/>
            </a:lvl4pPr>
            <a:lvl5pPr marL="180975" indent="0">
              <a:buNone/>
              <a:defRPr/>
            </a:lvl5pPr>
          </a:lstStyle>
          <a:p>
            <a:pPr lvl="0"/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3459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869201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0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Picture 90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62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68177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131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89671" y="6571686"/>
            <a:ext cx="316337" cy="286314"/>
          </a:xfrm>
          <a:prstGeom prst="rect">
            <a:avLst/>
          </a:prstGeom>
        </p:spPr>
        <p:txBody>
          <a:bodyPr lIns="0" rIns="0" anchor="ctr" anchorCtr="0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567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4" r:id="rId1"/>
    <p:sldLayoutId id="2147484065" r:id="rId2"/>
    <p:sldLayoutId id="2147484066" r:id="rId3"/>
    <p:sldLayoutId id="2147484067" r:id="rId4"/>
    <p:sldLayoutId id="2147484068" r:id="rId5"/>
    <p:sldLayoutId id="214748406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180975" algn="l" defTabSz="914400" rtl="0" eaLnBrk="1" latinLnBrk="0" hangingPunct="1">
        <a:spcBef>
          <a:spcPct val="20000"/>
        </a:spcBef>
        <a:buFont typeface="Arial Narrow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361950" indent="-180975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18.png"/><Relationship Id="rId2" Type="http://schemas.openxmlformats.org/officeDocument/2006/relationships/tags" Target="../tags/tag4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tags" Target="../tags/tag45.xml"/><Relationship Id="rId7" Type="http://schemas.openxmlformats.org/officeDocument/2006/relationships/image" Target="../media/image19.jpg"/><Relationship Id="rId2" Type="http://schemas.openxmlformats.org/officeDocument/2006/relationships/tags" Target="../tags/tag44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47.xml"/><Relationship Id="rId7" Type="http://schemas.openxmlformats.org/officeDocument/2006/relationships/image" Target="../media/image21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9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22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0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tags" Target="../tags/tag51.xml"/><Relationship Id="rId7" Type="http://schemas.openxmlformats.org/officeDocument/2006/relationships/image" Target="../media/image23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1.bin"/><Relationship Id="rId4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53.xml"/><Relationship Id="rId7" Type="http://schemas.openxmlformats.org/officeDocument/2006/relationships/image" Target="../media/image25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2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28.jpg"/><Relationship Id="rId2" Type="http://schemas.openxmlformats.org/officeDocument/2006/relationships/tags" Target="../tags/tag5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3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7.xml"/><Relationship Id="rId7" Type="http://schemas.openxmlformats.org/officeDocument/2006/relationships/oleObject" Target="../embeddings/oleObject9.bin"/><Relationship Id="rId2" Type="http://schemas.openxmlformats.org/officeDocument/2006/relationships/tags" Target="../tags/tag2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29.xml"/><Relationship Id="rId7" Type="http://schemas.openxmlformats.org/officeDocument/2006/relationships/oleObject" Target="../embeddings/oleObject10.bin"/><Relationship Id="rId2" Type="http://schemas.openxmlformats.org/officeDocument/2006/relationships/tags" Target="../tags/tag2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eg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31.xml"/><Relationship Id="rId7" Type="http://schemas.openxmlformats.org/officeDocument/2006/relationships/image" Target="../media/image6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tags" Target="../tags/tag33.xml"/><Relationship Id="rId7" Type="http://schemas.openxmlformats.org/officeDocument/2006/relationships/image" Target="../media/image6.emf"/><Relationship Id="rId2" Type="http://schemas.openxmlformats.org/officeDocument/2006/relationships/tags" Target="../tags/tag3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35.xml"/><Relationship Id="rId7" Type="http://schemas.openxmlformats.org/officeDocument/2006/relationships/oleObject" Target="../embeddings/oleObject13.bin"/><Relationship Id="rId2" Type="http://schemas.openxmlformats.org/officeDocument/2006/relationships/tags" Target="../tags/tag3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jpg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g"/><Relationship Id="rId3" Type="http://schemas.openxmlformats.org/officeDocument/2006/relationships/tags" Target="../tags/tag37.xml"/><Relationship Id="rId7" Type="http://schemas.openxmlformats.org/officeDocument/2006/relationships/image" Target="../media/image6.emf"/><Relationship Id="rId2" Type="http://schemas.openxmlformats.org/officeDocument/2006/relationships/tags" Target="../tags/tag36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39.xml"/><Relationship Id="rId7" Type="http://schemas.openxmlformats.org/officeDocument/2006/relationships/image" Target="../media/image13.jpg"/><Relationship Id="rId2" Type="http://schemas.openxmlformats.org/officeDocument/2006/relationships/tags" Target="../tags/tag38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5.jp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g"/><Relationship Id="rId3" Type="http://schemas.openxmlformats.org/officeDocument/2006/relationships/tags" Target="../tags/tag41.xml"/><Relationship Id="rId7" Type="http://schemas.openxmlformats.org/officeDocument/2006/relationships/image" Target="../media/image16.jpg"/><Relationship Id="rId2" Type="http://schemas.openxmlformats.org/officeDocument/2006/relationships/tags" Target="../tags/tag4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32612" y="2410691"/>
            <a:ext cx="8828086" cy="2438525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Сети ВЫСОКОГО НАПРЯЖЕНИЯ.</a:t>
            </a:r>
            <a:br>
              <a:rPr lang="ru-RU" dirty="0" smtClean="0"/>
            </a:b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Смертельная опасность вблизи  ЛЭП.</a:t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2000" i="1" dirty="0" smtClean="0"/>
              <a:t>(информация для учеников школ и студентов)</a:t>
            </a:r>
            <a:endParaRPr lang="ru-RU" sz="2000" i="1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590088" y="6572250"/>
            <a:ext cx="315912" cy="285750"/>
          </a:xfrm>
        </p:spPr>
        <p:txBody>
          <a:bodyPr/>
          <a:lstStyle/>
          <a:p>
            <a:fld id="{E893A361-5A8E-4789-8762-ADD1AA23B380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1379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907619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755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близи ЛЭП НЕЛЬЗЯ!   Ловить рыб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Через удочку рыбака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            убивает насмерть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Два случая в Пензенской области.</a:t>
            </a:r>
          </a:p>
        </p:txBody>
      </p:sp>
      <p:pic>
        <p:nvPicPr>
          <p:cNvPr id="577543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808" y="2203675"/>
            <a:ext cx="3810000" cy="3952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40531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559734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85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В близи ЛЭП НЕЛЬЗЯ!   Запускать воздушные змеи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040" y="1974931"/>
            <a:ext cx="6656614" cy="443774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3889" y="2149590"/>
            <a:ext cx="2892753" cy="40884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4583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5642359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960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950024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Прикасаться к опорам ЛЭП!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А тем более залазить на них!!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7958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668" y="2022145"/>
            <a:ext cx="4010025" cy="465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4663" y="2327561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257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474667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6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риближаться к проводам ЛЭП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0615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0245" y="2788537"/>
            <a:ext cx="7248525" cy="303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14427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82219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16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2" y="1116279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Подходить к оборванному проводу!</a:t>
            </a:r>
          </a:p>
          <a:p>
            <a:pPr marL="4763" algn="ctr"/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1636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5552" y="1812100"/>
            <a:ext cx="4010025" cy="46005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1637" name="Picture 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74" y="1812100"/>
            <a:ext cx="4010025" cy="45910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427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65356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26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Вблизи ЛЭП  ВЫСОКОГО НАПРЯЖЕНИЯ -  НЕЛЬЗЯ: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7" name="Rectangle 84"/>
          <p:cNvSpPr/>
          <p:nvPr/>
        </p:nvSpPr>
        <p:spPr>
          <a:xfrm>
            <a:off x="118751" y="973775"/>
            <a:ext cx="9571513" cy="529639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 algn="ctr"/>
            <a:r>
              <a:rPr lang="ru-RU" sz="2800" dirty="0" smtClean="0">
                <a:solidFill>
                  <a:prstClr val="black"/>
                </a:solidFill>
                <a:sym typeface="+mn-lt"/>
              </a:rPr>
              <a:t>НЕЛЬЗЯ!     Играть вблизи ЛЭП!</a:t>
            </a:r>
            <a:endParaRPr lang="ru-RU" sz="2800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 </a:t>
            </a:r>
          </a:p>
          <a:p>
            <a:pPr marL="4763"/>
            <a:r>
              <a:rPr lang="ru-RU" sz="1800" dirty="0" smtClean="0">
                <a:solidFill>
                  <a:prstClr val="black"/>
                </a:solidFill>
                <a:sym typeface="+mn-lt"/>
              </a:rPr>
              <a:t>   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</a:t>
            </a:r>
          </a:p>
        </p:txBody>
      </p:sp>
      <p:pic>
        <p:nvPicPr>
          <p:cNvPr id="582661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35" y="1742332"/>
            <a:ext cx="4546271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2662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0764" y="1742331"/>
            <a:ext cx="4530310" cy="471487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8556" y="2514556"/>
            <a:ext cx="1828888" cy="182888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220984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432792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652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1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465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Рисунок 7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4374" y="2428391"/>
            <a:ext cx="5927766" cy="395184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8349912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427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07523" y="1060468"/>
            <a:ext cx="8550233" cy="492443"/>
          </a:xfrm>
        </p:spPr>
        <p:txBody>
          <a:bodyPr/>
          <a:lstStyle/>
          <a:p>
            <a:r>
              <a:rPr lang="ru-RU" dirty="0" smtClean="0"/>
              <a:t>Наша компания занимается передачей электрической энергии, выработанной на  крупнейших электростанциях </a:t>
            </a:r>
            <a:r>
              <a:rPr lang="ru-RU" dirty="0"/>
              <a:t>РФ и </a:t>
            </a:r>
            <a:r>
              <a:rPr lang="ru-RU" dirty="0" smtClean="0"/>
              <a:t>её распределением </a:t>
            </a:r>
            <a:r>
              <a:rPr lang="ru-RU" dirty="0"/>
              <a:t>по  </a:t>
            </a:r>
            <a:r>
              <a:rPr lang="ru-RU" dirty="0" smtClean="0"/>
              <a:t>всем  регионам страны. </a:t>
            </a:r>
            <a:endParaRPr lang="ru-RU" dirty="0"/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1" y="1668350"/>
            <a:ext cx="9500259" cy="1732576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По нашим  линиям  электропередач  передаются  огромные мощност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их  мощностей достаточно для электропитания целых регионов (областей, республик и краёв) 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городами и посёлками</a:t>
            </a:r>
            <a:r>
              <a:rPr lang="ru-RU" dirty="0">
                <a:solidFill>
                  <a:prstClr val="black"/>
                </a:solidFill>
                <a:sym typeface="+mn-lt"/>
              </a:rPr>
              <a:t>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заводами и фабриками,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трамваями и троллейбусами,</a:t>
            </a:r>
          </a:p>
          <a:p>
            <a:pPr marL="449263" indent="-184150">
              <a:buFont typeface="Wingdings" panose="05000000000000000000" pitchFamily="2" charset="2"/>
              <a:buChar char="§"/>
            </a:pPr>
            <a:r>
              <a:rPr lang="ru-RU" dirty="0" smtClean="0">
                <a:solidFill>
                  <a:prstClr val="black"/>
                </a:solidFill>
                <a:sym typeface="+mn-lt"/>
              </a:rPr>
              <a:t>с сетями освещения и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       всеми жилыми домами.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</p:txBody>
      </p:sp>
      <p:sp>
        <p:nvSpPr>
          <p:cNvPr id="74" name="Rectangle 84"/>
          <p:cNvSpPr/>
          <p:nvPr/>
        </p:nvSpPr>
        <p:spPr>
          <a:xfrm>
            <a:off x="201880" y="4404313"/>
            <a:ext cx="3313215" cy="205234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Для передачи такой большой мощности на огромные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расстояния используются </a:t>
            </a:r>
            <a:r>
              <a:rPr lang="ru-RU" dirty="0" smtClean="0">
                <a:solidFill>
                  <a:srgbClr val="C00000"/>
                </a:solidFill>
                <a:sym typeface="+mn-lt"/>
              </a:rPr>
              <a:t>МАГИСТРАЛЬНЫЕ лини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электропередач, </a:t>
            </a:r>
          </a:p>
          <a:p>
            <a:pPr marL="4763" algn="ctr"/>
            <a:r>
              <a:rPr lang="ru-RU" dirty="0" smtClean="0">
                <a:solidFill>
                  <a:prstClr val="black"/>
                </a:solidFill>
                <a:sym typeface="+mn-lt"/>
              </a:rPr>
              <a:t>со </a:t>
            </a:r>
            <a:r>
              <a:rPr lang="ru-RU" dirty="0" smtClean="0">
                <a:solidFill>
                  <a:srgbClr val="FF0000"/>
                </a:solidFill>
                <a:sym typeface="+mn-lt"/>
              </a:rPr>
              <a:t>СВЕХВЫСОКИМ  НАПРЯЖЕНИЕМ!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9692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Объект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516" y="1081777"/>
            <a:ext cx="8959808" cy="5973205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214424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140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8" name="Rectangle 84"/>
          <p:cNvSpPr/>
          <p:nvPr/>
        </p:nvSpPr>
        <p:spPr>
          <a:xfrm>
            <a:off x="819396" y="1175658"/>
            <a:ext cx="8621487" cy="2599620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Например:</a:t>
            </a:r>
          </a:p>
          <a:p>
            <a:pPr marL="4763"/>
            <a:r>
              <a:rPr lang="ru-RU" sz="1400" dirty="0" smtClean="0">
                <a:solidFill>
                  <a:srgbClr val="FFFF00"/>
                </a:solidFill>
                <a:sym typeface="+mn-lt"/>
              </a:rPr>
              <a:t>	- для передачи электричества от </a:t>
            </a:r>
            <a:r>
              <a:rPr lang="ru-RU" sz="1400" dirty="0" err="1" smtClean="0">
                <a:solidFill>
                  <a:srgbClr val="FFFF00"/>
                </a:solidFill>
                <a:sym typeface="+mn-lt"/>
              </a:rPr>
              <a:t>Балаковской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 АЭС (Саратовская обл.) и Жигулёвской ГЭС (самарская обл.) используются ЛЭП 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50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r>
              <a:rPr lang="ru-RU" sz="1400" dirty="0">
                <a:solidFill>
                  <a:srgbClr val="FFFF00"/>
                </a:solidFill>
                <a:sym typeface="+mn-lt"/>
              </a:rPr>
              <a:t>	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- для распределения электроэнергии внутри области или республики используются ЛЭП напряжением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220 000</a:t>
            </a:r>
            <a:r>
              <a:rPr lang="ru-RU" sz="1600" dirty="0" smtClean="0">
                <a:solidFill>
                  <a:srgbClr val="FFFF00"/>
                </a:solidFill>
                <a:sym typeface="+mn-lt"/>
              </a:rPr>
              <a:t>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 или </a:t>
            </a:r>
            <a:r>
              <a:rPr lang="ru-RU" sz="180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sym typeface="+mn-lt"/>
              </a:rPr>
              <a:t>110 000 </a:t>
            </a:r>
            <a:r>
              <a:rPr lang="ru-RU" sz="1400" dirty="0" smtClean="0">
                <a:solidFill>
                  <a:srgbClr val="FFFF00"/>
                </a:solidFill>
                <a:sym typeface="+mn-lt"/>
              </a:rPr>
              <a:t>вольт.</a:t>
            </a:r>
          </a:p>
          <a:p>
            <a:pPr marL="4763"/>
            <a:endParaRPr lang="ru-RU" sz="1400" dirty="0">
              <a:solidFill>
                <a:srgbClr val="FFFF00"/>
              </a:solidFill>
              <a:sym typeface="+mn-lt"/>
            </a:endParaRPr>
          </a:p>
          <a:p>
            <a:pPr marL="4763"/>
            <a:r>
              <a:rPr lang="ru-RU" sz="1600" u="sng" dirty="0" smtClean="0">
                <a:solidFill>
                  <a:srgbClr val="FFFF00"/>
                </a:solidFill>
                <a:sym typeface="+mn-lt"/>
              </a:rPr>
              <a:t>Это МАГИСТРАЛЬНЫЕ СЕТИ  страны.</a:t>
            </a:r>
          </a:p>
          <a:p>
            <a:pPr marL="4763"/>
            <a:endParaRPr lang="ru-RU" sz="1400" dirty="0" smtClean="0">
              <a:solidFill>
                <a:srgbClr val="FFFF00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1029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851437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67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0" y="2323539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ПАО  «ФСК ЕЭС»   -   Федеральная сетевая компания.</a:t>
            </a:r>
            <a:br>
              <a:rPr lang="ru-RU" dirty="0" smtClean="0"/>
            </a:br>
            <a:r>
              <a:rPr lang="ru-RU" dirty="0" smtClean="0"/>
              <a:t>Магистральные сети -  ВЫСОКОЕ НАПРЯЖЕНИЕ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4797632" y="3396343"/>
            <a:ext cx="4904506" cy="3087584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Но, если такое случается в МАГИСТРАЛЬНЫХ сетях ВЫСОКОГО НАПРЯЖЕНИЯ – шансов у него НЕТ!  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т человек, если даже не сгорит в первые секунды, то точно погибнет в ближайшие часы или дни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создаёт большие токи через тело человека, которые  выжигают большинство внутренних органов и поэтому не оставляют шансов выжить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Увы, но это одно из свойств ВЫСОКОГО НАПРЯЖЕНИЯ!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79" y="3396343"/>
            <a:ext cx="4285199" cy="3213900"/>
          </a:xfrm>
          <a:prstGeom prst="rect">
            <a:avLst/>
          </a:prstGeom>
          <a:ln w="381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1" name="Rectangle 84"/>
          <p:cNvSpPr/>
          <p:nvPr/>
        </p:nvSpPr>
        <p:spPr>
          <a:xfrm>
            <a:off x="201879" y="1215109"/>
            <a:ext cx="9500259" cy="2026855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И так, ВЫСОКОЕ НАПРЯЖЕНИЕ необходимо человеку для передачи большой мощности на большие расстояния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Это высокое напряжение  служит человеку, т.е. приносит пользу, но нужно помнить, что оно всегда было и остаётся </a:t>
            </a:r>
            <a:r>
              <a:rPr lang="ru-RU" sz="1800" u="sng" dirty="0" smtClean="0">
                <a:solidFill>
                  <a:prstClr val="black"/>
                </a:solidFill>
                <a:sym typeface="+mn-lt"/>
              </a:rPr>
              <a:t>СМЕРТЕЛЬНО  ОПАСНЫМ</a:t>
            </a:r>
            <a:r>
              <a:rPr lang="ru-RU" sz="1800" dirty="0" smtClean="0">
                <a:solidFill>
                  <a:prstClr val="black"/>
                </a:solidFill>
                <a:sym typeface="+mn-lt"/>
              </a:rPr>
              <a:t> 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для  человека.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Если в результате несчастного случая человек попадает под напряжение 220 вольт (которые у Вас дома) в некоторых случаях он может  выжить, ИНОГДА.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828812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503018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38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00259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ВЫСОКОЕ НАПРЯЖЕНИЕ УБИВАЕТ НА РАССТОЯНИИ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дно из свойств высокого напряжения – 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способность пробивать воздушные промежутки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 ещё не дотронулся до провода, он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только приблизился к нему на недопустимое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расстояние. И в этот момент происходит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электричества, как молния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Только молния кратковременная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а электричество в проводах длительное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В результате – обугленный труп!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83" y="3299051"/>
            <a:ext cx="4714875" cy="3133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668495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80" y="3084583"/>
            <a:ext cx="5320146" cy="3559662"/>
          </a:xfrm>
          <a:prstGeom prst="rect">
            <a:avLst/>
          </a:prstGeom>
        </p:spPr>
      </p:pic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75077903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2436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ПРОВОД УПАВШИЙ НА ЗЕМЛЮ СОЗДАЁТ ВОКРУГ СЕБЯ ОПАСНУЮ ЗОНУ  «ШАГОВОЕ НАПРЯЖЕНИЕ»!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Если провод ЛЭП или трос оборвался и упал на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землю, то вокруг нег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 поверхности 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земли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 создаётся зона высокого напряжения. 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Человек, находясь в ней, может получить разряд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 просто шагнув или чуть расставив ноги.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Опасная зона ограничена 10 метрами вокруг места падения провода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ин шаг в зоне «ШАГОВОГО НАПРЯЖЕНИЯ»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человек погибнет.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гибнет даже на расстоянии нескольких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етров от лежащего провода. 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</p:spTree>
    <p:extLst>
      <p:ext uri="{BB962C8B-B14F-4D97-AF65-F5344CB8AC3E}">
        <p14:creationId xmlns:p14="http://schemas.microsoft.com/office/powerpoint/2010/main" val="2301799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750490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5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595263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 МОЖЕТ БЫТЬ НАПРЯЖЕНИЕ. 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Высокое напряжение ЛЭП способно передавать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(с помощью электрического поля)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пряжение на металлические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роводники и конструкци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							Это </a:t>
            </a:r>
            <a:r>
              <a:rPr lang="ru-RU" dirty="0">
                <a:solidFill>
                  <a:prstClr val="black"/>
                </a:solidFill>
                <a:sym typeface="+mn-lt"/>
              </a:rPr>
              <a:t>явление называется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		«</a:t>
            </a:r>
            <a:r>
              <a:rPr lang="ru-RU" dirty="0">
                <a:solidFill>
                  <a:prstClr val="black"/>
                </a:solidFill>
                <a:sym typeface="+mn-lt"/>
              </a:rPr>
              <a:t>НАВЕДЁННОЕ НАПРЯЖЕНИЕ». </a:t>
            </a:r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Если заземлитель опоры повреждён,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о велика вероятность появлен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на теле опоры опасного напряжения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Человек, прикоснувшись к тако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поре, получит удар током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08928" y="3146959"/>
            <a:ext cx="3330039" cy="33300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6881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0498941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47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2422565"/>
            <a:ext cx="9025247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НА ПОВЕРХНОСТИ ИЗОЛЯТОРОВ ЕСТЬ НАПРЯЖЕНИЕ. </a:t>
            </a: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/>
            <a:endParaRPr lang="ru-RU" dirty="0" smtClean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Поверхность изолятора сконструирована так, </a:t>
            </a:r>
          </a:p>
          <a:p>
            <a:pPr marL="4763" algn="r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				чтобы создать максимальное сопротивление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Однако в результате атмосферных загрязнений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и появляющихся со временем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микротрещин в теле изолятора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 его поверхности начинают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течь токи утечки. </a:t>
            </a:r>
          </a:p>
          <a:p>
            <a:pPr marL="4763" algn="r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отронувшись до изолятора человек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создаёт благоприятные условия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для пробоя изолятора и </a:t>
            </a:r>
          </a:p>
          <a:p>
            <a:pPr marL="4763" algn="r"/>
            <a:r>
              <a:rPr lang="ru-RU" dirty="0" smtClean="0">
                <a:solidFill>
                  <a:prstClr val="black"/>
                </a:solidFill>
                <a:sym typeface="+mn-lt"/>
              </a:rPr>
              <a:t>получения смертельного разряда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941796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Как уберечься от ВЫСОКОГО НАПРЯЖЕНИЯ?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Чего нельзя делать вблизи ЛЭП,  а особенно вблизи </a:t>
            </a:r>
          </a:p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МАГИСТРАЛЬНЫХ линий ВЫСОГОКО  НАПРЯЖЕНИЯ. </a:t>
            </a:r>
            <a:endParaRPr lang="ru-RU" sz="18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1475" y="1643049"/>
            <a:ext cx="1425039" cy="83008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880" y="1489249"/>
            <a:ext cx="984909" cy="113768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781" y="3313216"/>
            <a:ext cx="2545989" cy="29693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08795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0928125"/>
              </p:ext>
            </p:extLst>
          </p:nvPr>
        </p:nvGraphicFramePr>
        <p:xfrm>
          <a:off x="1597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505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7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>
              <a:solidFill>
                <a:prstClr val="white"/>
              </a:solidFill>
              <a:sym typeface="+mn-lt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893A361-5A8E-4789-8762-ADD1AA23B380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1" y="1056905"/>
            <a:ext cx="10010898" cy="246221"/>
          </a:xfrm>
          <a:solidFill>
            <a:srgbClr val="FF0000"/>
          </a:solidFill>
        </p:spPr>
        <p:txBody>
          <a:bodyPr/>
          <a:lstStyle/>
          <a:p>
            <a:pPr algn="r"/>
            <a:r>
              <a:rPr lang="ru-RU" dirty="0" smtClean="0">
                <a:solidFill>
                  <a:srgbClr val="FFFF00"/>
                </a:solidFill>
              </a:rPr>
              <a:t>Вопрос очень серьёзный!  Это вопрос Вашей безопасности!!!    .</a:t>
            </a:r>
            <a:endParaRPr lang="ru-RU" dirty="0">
              <a:solidFill>
                <a:srgbClr val="FFFF00"/>
              </a:solidFill>
            </a:endParaRPr>
          </a:p>
        </p:txBody>
      </p:sp>
      <p:sp>
        <p:nvSpPr>
          <p:cNvPr id="83" name="Title 1"/>
          <p:cNvSpPr>
            <a:spLocks noGrp="1"/>
          </p:cNvSpPr>
          <p:nvPr>
            <p:ph type="title"/>
          </p:nvPr>
        </p:nvSpPr>
        <p:spPr>
          <a:xfrm>
            <a:off x="212652" y="0"/>
            <a:ext cx="8625348" cy="927847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Магистральные сети  ВЫСОКОГО НАПРЯЖЕНИЯ -  это</a:t>
            </a:r>
            <a:br>
              <a:rPr lang="ru-RU" dirty="0" smtClean="0"/>
            </a:br>
            <a:r>
              <a:rPr lang="ru-RU" dirty="0" smtClean="0"/>
              <a:t>смертельно опасно!</a:t>
            </a:r>
            <a:endParaRPr lang="ru-RU" dirty="0">
              <a:solidFill>
                <a:srgbClr val="FF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01880" y="1911926"/>
            <a:ext cx="5355771" cy="4108863"/>
          </a:xfrm>
          <a:prstGeom prst="rect">
            <a:avLst/>
          </a:prstGeom>
        </p:spPr>
        <p:txBody>
          <a:bodyPr wrap="square" lIns="0" rIns="0">
            <a:noAutofit/>
          </a:bodyPr>
          <a:lstStyle/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</a:t>
            </a:r>
          </a:p>
          <a:p>
            <a:pPr marL="4763"/>
            <a:r>
              <a:rPr lang="ru-RU" dirty="0">
                <a:solidFill>
                  <a:prstClr val="black"/>
                </a:solidFill>
                <a:sym typeface="+mn-lt"/>
              </a:rPr>
              <a:t>	</a:t>
            </a:r>
            <a:r>
              <a:rPr lang="ru-RU" dirty="0" smtClean="0">
                <a:solidFill>
                  <a:prstClr val="black"/>
                </a:solidFill>
                <a:sym typeface="+mn-lt"/>
              </a:rPr>
              <a:t>Чем больше изоляторов в гирлянде, тем страшнее напряжение в линии.  </a:t>
            </a:r>
          </a:p>
          <a:p>
            <a:pPr marL="4763"/>
            <a:endParaRPr lang="ru-RU" dirty="0">
              <a:solidFill>
                <a:prstClr val="black"/>
              </a:solidFill>
              <a:sym typeface="+mn-lt"/>
            </a:endParaRPr>
          </a:p>
          <a:p>
            <a:pPr marL="4763"/>
            <a:r>
              <a:rPr lang="ru-RU" dirty="0" smtClean="0">
                <a:solidFill>
                  <a:prstClr val="black"/>
                </a:solidFill>
                <a:sym typeface="+mn-lt"/>
              </a:rPr>
              <a:t>	Не приближайтесь к ЛЭП во время дождя или в туман (повышенная влажность).</a:t>
            </a:r>
          </a:p>
        </p:txBody>
      </p:sp>
      <p:sp>
        <p:nvSpPr>
          <p:cNvPr id="8" name="Text Placeholder 3"/>
          <p:cNvSpPr txBox="1">
            <a:spLocks/>
          </p:cNvSpPr>
          <p:nvPr/>
        </p:nvSpPr>
        <p:spPr>
          <a:xfrm>
            <a:off x="201880" y="1451838"/>
            <a:ext cx="927417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b="1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0" indent="0" algn="l" defTabSz="914400" rtl="0" eaLnBrk="1" latinLnBrk="0" hangingPunct="1">
              <a:spcBef>
                <a:spcPct val="20000"/>
              </a:spcBef>
              <a:buFont typeface="Arial Narrow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0975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</a:pPr>
            <a:r>
              <a:rPr lang="ru-RU" sz="1800" dirty="0" smtClean="0"/>
              <a:t>Подведём итоги.</a:t>
            </a:r>
            <a:endParaRPr lang="ru-RU" sz="1800" dirty="0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7039" y="2334478"/>
            <a:ext cx="3671962" cy="2786371"/>
          </a:xfrm>
          <a:prstGeom prst="rect">
            <a:avLst/>
          </a:prstGeom>
          <a:ln w="444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276" y="3505201"/>
            <a:ext cx="5033655" cy="283143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6350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4&quot;&gt;&lt;elem m_fUsage=&quot;8.50986304218151090000E+000&quot;&gt;&lt;m_msothmcolidx val=&quot;0&quot;/&gt;&lt;m_rgb r=&quot;ff&quot; g=&quot;99&quot; b=&quot;0&quot;/&gt;&lt;m_ppcolschidx tagver0=&quot;23004&quot; tagname0=&quot;m_ppcolschidxUNRECOGNIZED&quot; val=&quot;0&quot;/&gt;&lt;m_nBrightness val=&quot;0&quot;/&gt;&lt;/elem&gt;&lt;elem m_fUsage=&quot;7.65384043863510110000E-001&quot;&gt;&lt;m_msothmcolidx val=&quot;0&quot;/&gt;&lt;m_rgb r=&quot;ff&quot; g=&quot;d3&quot; b=&quot;66&quot;/&gt;&lt;m_ppcolschidx tagver0=&quot;23004&quot; tagname0=&quot;m_ppcolschidxUNRECOGNIZED&quot; val=&quot;0&quot;/&gt;&lt;m_nBrightness val=&quot;0&quot;/&gt;&lt;/elem&gt;&lt;elem m_fUsage=&quot;5.17716922136988830000E-001&quot;&gt;&lt;m_msothmcolidx val=&quot;0&quot;/&gt;&lt;m_rgb r=&quot;fe&quot; g=&quot;a6&quot; b=&quot;2e&quot;/&gt;&lt;m_ppcolschidx tagver0=&quot;23004&quot; tagname0=&quot;m_ppcolschidxUNRECOGNIZED&quot; val=&quot;0&quot;/&gt;&lt;m_nBrightness val=&quot;0&quot;/&gt;&lt;/elem&gt;&lt;elem m_fUsage=&quot;7.40080453450797230000E-002&quot;&gt;&lt;m_msothmcolidx val=&quot;0&quot;/&gt;&lt;m_rgb r=&quot;44&quot; g=&quot;72&quot; b=&quot;c4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YudrA1LkGCHFOte1fS3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G4pez2gk.TvgOVghYU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1LwXW32kOSqdXAHU2I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uEevl8_EeBwnji97aM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zGdui8uNk.jcjSqwfonow"/>
</p:tagLst>
</file>

<file path=ppt/theme/theme1.xml><?xml version="1.0" encoding="utf-8"?>
<a:theme xmlns:a="http://schemas.openxmlformats.org/drawingml/2006/main" name="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1_Шаблон ФСК февраль 2014 с линиями">
  <a:themeElements>
    <a:clrScheme name="ФСК">
      <a:dk1>
        <a:sysClr val="windowText" lastClr="000000"/>
      </a:dk1>
      <a:lt1>
        <a:sysClr val="window" lastClr="FFFFFF"/>
      </a:lt1>
      <a:dk2>
        <a:srgbClr val="000000"/>
      </a:dk2>
      <a:lt2>
        <a:srgbClr val="004489"/>
      </a:lt2>
      <a:accent1>
        <a:srgbClr val="FFFFFF"/>
      </a:accent1>
      <a:accent2>
        <a:srgbClr val="878787"/>
      </a:accent2>
      <a:accent3>
        <a:srgbClr val="004489"/>
      </a:accent3>
      <a:accent4>
        <a:srgbClr val="FA5500"/>
      </a:accent4>
      <a:accent5>
        <a:srgbClr val="878787"/>
      </a:accent5>
      <a:accent6>
        <a:srgbClr val="B0D0EF"/>
      </a:accent6>
      <a:hlink>
        <a:srgbClr val="004489"/>
      </a:hlink>
      <a:folHlink>
        <a:srgbClr val="FA550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200" b="0" dirty="0" smtClean="0">
            <a:latin typeface="+mn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e__x043f__x0438__x0441__x0430__x043d__x0438__x0435_ xmlns="6d7c22ec-c6a4-4777-88aa-bc3c76ac660e" xsi:nil="true"/>
    <_dlc_DocId xmlns="57504d04-691e-4fc4-8f09-4f19fdbe90f6">XXJ7TYMEEKJ2-3639-7</_dlc_DocId>
    <_dlc_DocIdUrl xmlns="57504d04-691e-4fc4-8f09-4f19fdbe90f6">
      <Url>https://vip.gov.mari.ru/sernur/msp/_layouts/DocIdRedir.aspx?ID=XXJ7TYMEEKJ2-3639-7</Url>
      <Description>XXJ7TYMEEKJ2-3639-7</Description>
    </_dlc_DocIdUrl>
    <_x041f__x0430__x043f__x043a__x0430_ xmlns="e81aa74a-1703-46c0-9975-095caf5385cc">2018 год</_x041f__x0430__x043f__x043a__x0430_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9FEAB28F9DCF744EAB56793FF2484B94" ma:contentTypeVersion="2" ma:contentTypeDescription="Создание документа." ma:contentTypeScope="" ma:versionID="116edac4e165aa67fcb7de142fe4f173">
  <xsd:schema xmlns:xsd="http://www.w3.org/2001/XMLSchema" xmlns:xs="http://www.w3.org/2001/XMLSchema" xmlns:p="http://schemas.microsoft.com/office/2006/metadata/properties" xmlns:ns2="57504d04-691e-4fc4-8f09-4f19fdbe90f6" xmlns:ns3="6d7c22ec-c6a4-4777-88aa-bc3c76ac660e" xmlns:ns4="e81aa74a-1703-46c0-9975-095caf5385cc" targetNamespace="http://schemas.microsoft.com/office/2006/metadata/properties" ma:root="true" ma:fieldsID="52b81f495b4804bdd9c686e9bcf1ad7e" ns2:_="" ns3:_="" ns4:_="">
    <xsd:import namespace="57504d04-691e-4fc4-8f09-4f19fdbe90f6"/>
    <xsd:import namespace="6d7c22ec-c6a4-4777-88aa-bc3c76ac660e"/>
    <xsd:import namespace="e81aa74a-1703-46c0-9975-095caf5385c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  <xsd:element ref="ns4:_x041f__x0430__x043f__x043a__x0430_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504d04-691e-4fc4-8f09-4f19fdbe90f6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d7c22ec-c6a4-4777-88aa-bc3c76ac660e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1aa74a-1703-46c0-9975-095caf5385cc" elementFormDefault="qualified">
    <xsd:import namespace="http://schemas.microsoft.com/office/2006/documentManagement/types"/>
    <xsd:import namespace="http://schemas.microsoft.com/office/infopath/2007/PartnerControls"/>
    <xsd:element name="_x041f__x0430__x043f__x043a__x0430_" ma:index="12" ma:displayName="Папка" ma:default="2018 год" ma:format="RadioButtons" ma:internalName="_x041f__x0430__x043f__x043a__x0430_">
      <xsd:simpleType>
        <xsd:restriction base="dms:Choice">
          <xsd:enumeration value="2021 год"/>
          <xsd:enumeration value="2020 год"/>
          <xsd:enumeration value="2019 год"/>
          <xsd:enumeration value="2018 год"/>
          <xsd:enumeration value="2016 год"/>
          <xsd:enumeration value="2013 год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F9B8C47-9C09-4EBF-B38F-AFE495BA3D6E}"/>
</file>

<file path=customXml/itemProps2.xml><?xml version="1.0" encoding="utf-8"?>
<ds:datastoreItem xmlns:ds="http://schemas.openxmlformats.org/officeDocument/2006/customXml" ds:itemID="{A6335039-1FA2-4B21-A852-6A54A4F80D4A}"/>
</file>

<file path=customXml/itemProps3.xml><?xml version="1.0" encoding="utf-8"?>
<ds:datastoreItem xmlns:ds="http://schemas.openxmlformats.org/officeDocument/2006/customXml" ds:itemID="{2C76F5B8-E6D9-4927-BC9B-9A57272ADBFD}"/>
</file>

<file path=customXml/itemProps4.xml><?xml version="1.0" encoding="utf-8"?>
<ds:datastoreItem xmlns:ds="http://schemas.openxmlformats.org/officeDocument/2006/customXml" ds:itemID="{27918EC3-3EEA-46C0-9824-DF5404EA23E2}"/>
</file>

<file path=docProps/app.xml><?xml version="1.0" encoding="utf-8"?>
<Properties xmlns="http://schemas.openxmlformats.org/officeDocument/2006/extended-properties" xmlns:vt="http://schemas.openxmlformats.org/officeDocument/2006/docPropsVTypes">
  <Template>Шаблон ФСК февраль 2014 с линиями</Template>
  <TotalTime>0</TotalTime>
  <Words>493</Words>
  <Application>Microsoft Office PowerPoint</Application>
  <PresentationFormat>Лист A4 (210x297 мм)</PresentationFormat>
  <Paragraphs>290</Paragraphs>
  <Slides>16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19" baseType="lpstr">
      <vt:lpstr>Шаблон ФСК февраль 2014 с линиями</vt:lpstr>
      <vt:lpstr>1_Шаблон ФСК февраль 2014 с линиями</vt:lpstr>
      <vt:lpstr>think-cell Slide</vt:lpstr>
      <vt:lpstr>Сети ВЫСОКОГО НАПРЯЖЕНИЯ.  Смертельная опасность вблизи  ЛЭП.  (информация для учеников школ и студентов)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ПАО  «ФСК ЕЭС»   -   Федеральная сетевая компания. Магистральные сети -  ВЫСОКОЕ НАПРЯЖЕНИЕ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Магистральные сети  ВЫСОКОГО НАПРЯЖЕНИЯ -  это смертельно опасно!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Вблизи ЛЭП  ВЫСОКОГО НАПРЯЖЕНИЯ -  НЕЛЬЗЯ:</vt:lpstr>
      <vt:lpstr>Магистральные сети  ВЫСОКОГО НАПРЯЖЕНИЯ -  это смертельно опасно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сновы электробезопасности</dc:title>
  <dc:creator/>
  <cp:lastModifiedBy/>
  <cp:revision>1</cp:revision>
  <dcterms:created xsi:type="dcterms:W3CDTF">2014-02-13T06:18:42Z</dcterms:created>
  <dcterms:modified xsi:type="dcterms:W3CDTF">2017-05-23T06:1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FEAB28F9DCF744EAB56793FF2484B94</vt:lpwstr>
  </property>
  <property fmtid="{D5CDD505-2E9C-101B-9397-08002B2CF9AE}" pid="3" name="_dlc_DocIdItemGuid">
    <vt:lpwstr>345c41fc-54b4-47f8-bbca-156af1fb7125</vt:lpwstr>
  </property>
</Properties>
</file>